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14000" y="2879999"/>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4158000" y="2879999"/>
            <a:ext cx="3744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